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12192000" cy="6858000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2" autoAdjust="0"/>
    <p:restoredTop sz="94660"/>
  </p:normalViewPr>
  <p:slideViewPr>
    <p:cSldViewPr snapToGrid="0">
      <p:cViewPr varScale="1">
        <p:scale>
          <a:sx n="162" d="100"/>
          <a:sy n="162" d="100"/>
        </p:scale>
        <p:origin x="186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819CE1-0357-4E1F-9B46-3701861BCA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37D2B3-185B-4CD9-8BCF-FD3819BB8B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369CFD-1E18-44DF-A9E8-D2781CFB2F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D373F-9901-47D8-A125-A4C90B36E0B0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4F741A4-E235-4832-9D96-F61CF944E9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3650D8-9F6C-476C-9781-79E7C9302D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C5781-815A-4231-A16D-1A6C2F13997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6213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C3BE5C-1467-4B61-A18E-23A44535EE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2CFF19A8-0E0B-43A3-9C4D-E4290CC32D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9F2DC1-28E9-4F68-9F38-932D81604B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D373F-9901-47D8-A125-A4C90B36E0B0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B23F485-3A18-41CA-A60E-85A072324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8C107E1-00D1-40B7-B91E-AAF3860BF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C5781-815A-4231-A16D-1A6C2F13997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727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34A86E49-2875-4028-998C-C669BF385B9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25DD1FC-2FFD-4396-B204-938F141429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90473-C9C0-4D71-972A-52DDA3EC75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D373F-9901-47D8-A125-A4C90B36E0B0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39287B-D443-4BCE-9177-ED6FB2BA2C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8A1F858-535A-434A-8C74-0E481A938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C5781-815A-4231-A16D-1A6C2F13997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20762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9B7C85-8EEC-45D9-904D-EAB445ECB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1393B5F-B089-4656-9291-1FF67373B7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BAF8F97-A293-4730-9990-4655E66922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D373F-9901-47D8-A125-A4C90B36E0B0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8DBE9D-E927-47F6-8322-13FE0D79F3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4FB99D3-D2E2-4704-B6A2-591BA287F6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C5781-815A-4231-A16D-1A6C2F13997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28474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F4C8F3-2F75-4E5D-B49C-FDC0E3E907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36D4722-AC4B-4329-B4DD-925278CDFF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5922A8-708B-4F76-8E5B-5856CB88C8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D373F-9901-47D8-A125-A4C90B36E0B0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A699E19-7B33-477D-87AD-5B4B87A17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3BD6030-5042-4076-8494-CC5A487FFD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C5781-815A-4231-A16D-1A6C2F13997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7912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2CC370-2A3F-4368-B8ED-1592D151FE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C7EA6A7-B886-4B7D-870C-527F8C86493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2E1F9DA-9A80-4A56-B633-675A20B8DB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712218F-8C4A-474F-8402-CCB75D47E2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D373F-9901-47D8-A125-A4C90B36E0B0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A84D014-831E-4139-BB39-0A2C3368F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CF374CF-F913-45C9-B322-2E48ACF1BE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C5781-815A-4231-A16D-1A6C2F13997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25977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D3D175-9316-452E-BC6C-77E17CB52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8AF11-C97C-42BF-B54C-84E670977F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F4E9C-019C-468B-94EE-D662BC936B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F046919-1A76-4C9D-962C-24902FC5FB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28E7CEA-4D23-4501-A5B8-CB0D9025F2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6B0DCCFE-6EE5-4EB7-8C08-9DD69B6661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D373F-9901-47D8-A125-A4C90B36E0B0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6FF1D51-768D-40D4-9858-88C1B56E5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1CC3A13-9FB2-4B46-8162-AEE0FA207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C5781-815A-4231-A16D-1A6C2F13997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11445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4EABD7-CB98-412B-A0C6-C93B8BF49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193259D-A9B5-4916-96CC-8531EB383F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D373F-9901-47D8-A125-A4C90B36E0B0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1DAE063-BB3A-41A0-BB81-1191AB960B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9A1A4A7-7212-465B-93CC-4611767D10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C5781-815A-4231-A16D-1A6C2F13997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61651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0AFFE6B-4633-449E-AE0A-6DBDCD9DA3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D373F-9901-47D8-A125-A4C90B36E0B0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8D62EA-3808-4BED-8B6F-74F0BDA5F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5CD8C9-DD68-4E25-AAC2-751BF6FD14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C5781-815A-4231-A16D-1A6C2F13997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90113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58C78B-5DFC-4B1E-986E-82E3D26F7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76E7588-EFE3-401B-A49A-75F9EE4C5F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4AE934-A2B0-4148-A7A2-60EB625DBE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0FCB1DC-11BB-4C33-B8E4-99A7945B6F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D373F-9901-47D8-A125-A4C90B36E0B0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7DC2C22-96E5-4AFC-96ED-795BA43F0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0F7C93-19E4-4F5D-A045-71E319B22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C5781-815A-4231-A16D-1A6C2F13997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4192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C2B66A-9AF6-416A-8560-42A59B19C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ABA8765-AA3E-4563-A7EE-622C45D0313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CE169F9-C2A7-4013-A990-539AB4737B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7DBFB5-D7F1-41C2-83F3-AAFEDF04B6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D373F-9901-47D8-A125-A4C90B36E0B0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CA65122-CC13-455D-907A-BE5C5B9D2C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BCCADB9-235C-4495-9768-5E148EC8DA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BC5781-815A-4231-A16D-1A6C2F13997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05789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134FFD3-38FC-474F-94DA-3797B53226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22414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6" imgW="592" imgH="595" progId="TCLayout.ActiveDocument.1">
                  <p:embed/>
                </p:oleObj>
              </mc:Choice>
              <mc:Fallback>
                <p:oleObj name="think-cell Folie" r:id="rId16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AFF6E2B0-DA8D-44B8-8443-04A5C947925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8A7753C-B2F2-4F84-AC30-BF8387519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1B8895-C00E-45BA-A0CA-AB9C6FE81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B8BB588-35A6-47DC-BC19-D4B1A047F2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8D373F-9901-47D8-A125-A4C90B36E0B0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BE78035-3391-45CD-8C5D-92C9A41733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CFD569-F1E5-4A54-9EC5-7EC98CB323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BC5781-815A-4231-A16D-1A6C2F13997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4119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AB8AE8B-ADE0-4171-B778-B5512A00D7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10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A4EAB1D-1F43-4DE5-8590-55108A55399B}"/>
              </a:ext>
            </a:extLst>
          </p:cNvPr>
          <p:cNvSpPr/>
          <p:nvPr/>
        </p:nvSpPr>
        <p:spPr>
          <a:xfrm>
            <a:off x="3899473" y="1881894"/>
            <a:ext cx="2412837" cy="13391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/>
              <a:t>Landingpage</a:t>
            </a:r>
            <a:r>
              <a:rPr lang="de-DE" sz="1200" dirty="0"/>
              <a:t> -&gt; Buchung durch Kunden</a:t>
            </a:r>
          </a:p>
          <a:p>
            <a:pPr algn="ctr"/>
            <a:r>
              <a:rPr lang="de-DE" sz="1200" dirty="0"/>
              <a:t>(</a:t>
            </a:r>
            <a:r>
              <a:rPr lang="de-DE" sz="1200" dirty="0" err="1"/>
              <a:t>Navbar</a:t>
            </a:r>
            <a:r>
              <a:rPr lang="de-DE" sz="1200" dirty="0"/>
              <a:t> -&gt; Meine Buchungen/Flugbuchung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2B8D49-F773-4E9C-8C15-992809DFD939}"/>
              </a:ext>
            </a:extLst>
          </p:cNvPr>
          <p:cNvSpPr/>
          <p:nvPr/>
        </p:nvSpPr>
        <p:spPr>
          <a:xfrm>
            <a:off x="584036" y="2833163"/>
            <a:ext cx="2017579" cy="12919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ogin (Kunde/Admin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2E273617-D3C9-4DEF-9951-3B196B812BF8}"/>
              </a:ext>
            </a:extLst>
          </p:cNvPr>
          <p:cNvCxnSpPr>
            <a:cxnSpLocks/>
            <a:stCxn id="6" idx="3"/>
            <a:endCxn id="5" idx="1"/>
          </p:cNvCxnSpPr>
          <p:nvPr/>
        </p:nvCxnSpPr>
        <p:spPr>
          <a:xfrm flipV="1">
            <a:off x="2601615" y="2551471"/>
            <a:ext cx="1297858" cy="9276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1AD8BB4B-A59D-4518-A236-89C0652E65C6}"/>
              </a:ext>
            </a:extLst>
          </p:cNvPr>
          <p:cNvCxnSpPr>
            <a:cxnSpLocks/>
            <a:stCxn id="6" idx="3"/>
            <a:endCxn id="11" idx="1"/>
          </p:cNvCxnSpPr>
          <p:nvPr/>
        </p:nvCxnSpPr>
        <p:spPr>
          <a:xfrm>
            <a:off x="2601615" y="3479143"/>
            <a:ext cx="1297857" cy="9320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B89150AD-0D47-46AC-946F-BDDF684BC7A9}"/>
              </a:ext>
            </a:extLst>
          </p:cNvPr>
          <p:cNvSpPr/>
          <p:nvPr/>
        </p:nvSpPr>
        <p:spPr>
          <a:xfrm>
            <a:off x="3899472" y="3741665"/>
            <a:ext cx="2412837" cy="13391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Statistikseite (Buchung/Stornierung/Umsätze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ADB9F99-05E0-463D-803C-1871A8556F6F}"/>
              </a:ext>
            </a:extLst>
          </p:cNvPr>
          <p:cNvSpPr/>
          <p:nvPr/>
        </p:nvSpPr>
        <p:spPr>
          <a:xfrm>
            <a:off x="7261122" y="2211520"/>
            <a:ext cx="1222151" cy="6799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Flugvorschläge (Flug buchen)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9D60B55E-2ECD-4001-8FB5-6C11CDF4EF58}"/>
              </a:ext>
            </a:extLst>
          </p:cNvPr>
          <p:cNvCxnSpPr>
            <a:cxnSpLocks/>
            <a:stCxn id="5" idx="3"/>
            <a:endCxn id="15" idx="1"/>
          </p:cNvCxnSpPr>
          <p:nvPr/>
        </p:nvCxnSpPr>
        <p:spPr>
          <a:xfrm>
            <a:off x="6312310" y="2551471"/>
            <a:ext cx="948812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>
            <a:extLst>
              <a:ext uri="{FF2B5EF4-FFF2-40B4-BE49-F238E27FC236}">
                <a16:creationId xmlns:a16="http://schemas.microsoft.com/office/drawing/2014/main" id="{3AF3F99F-16F1-4FEA-8B5C-A7C518435758}"/>
              </a:ext>
            </a:extLst>
          </p:cNvPr>
          <p:cNvSpPr/>
          <p:nvPr/>
        </p:nvSpPr>
        <p:spPr>
          <a:xfrm>
            <a:off x="9432085" y="2211518"/>
            <a:ext cx="1222151" cy="13811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/>
              <a:t>Übersichtsseite meine Buchungen (Buchungsstatus: storniert/schon geflogen)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5E40523C-6401-4AA9-8025-1725D31B1B56}"/>
              </a:ext>
            </a:extLst>
          </p:cNvPr>
          <p:cNvCxnSpPr>
            <a:cxnSpLocks/>
          </p:cNvCxnSpPr>
          <p:nvPr/>
        </p:nvCxnSpPr>
        <p:spPr>
          <a:xfrm>
            <a:off x="8483273" y="2551470"/>
            <a:ext cx="948812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>
            <a:extLst>
              <a:ext uri="{FF2B5EF4-FFF2-40B4-BE49-F238E27FC236}">
                <a16:creationId xmlns:a16="http://schemas.microsoft.com/office/drawing/2014/main" id="{773C532E-B497-44AE-8D83-F38D04331D47}"/>
              </a:ext>
            </a:extLst>
          </p:cNvPr>
          <p:cNvSpPr/>
          <p:nvPr/>
        </p:nvSpPr>
        <p:spPr>
          <a:xfrm>
            <a:off x="10621542" y="2467406"/>
            <a:ext cx="1091381" cy="35985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Ändern (Zeit/Tag)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6EF6D8D-ED28-4ED3-AF35-4C810EDC51ED}"/>
              </a:ext>
            </a:extLst>
          </p:cNvPr>
          <p:cNvSpPr/>
          <p:nvPr/>
        </p:nvSpPr>
        <p:spPr>
          <a:xfrm>
            <a:off x="10621543" y="2971056"/>
            <a:ext cx="1091381" cy="35985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Storniere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BB6F49F-5369-40D6-8509-912624D3E3BE}"/>
              </a:ext>
            </a:extLst>
          </p:cNvPr>
          <p:cNvSpPr/>
          <p:nvPr/>
        </p:nvSpPr>
        <p:spPr>
          <a:xfrm>
            <a:off x="7337323" y="2827264"/>
            <a:ext cx="1091381" cy="35985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Buchen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45C3826-3636-4A8C-A12D-1649C77541AF}"/>
              </a:ext>
            </a:extLst>
          </p:cNvPr>
          <p:cNvSpPr/>
          <p:nvPr/>
        </p:nvSpPr>
        <p:spPr>
          <a:xfrm>
            <a:off x="4543240" y="3070617"/>
            <a:ext cx="1091381" cy="35985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Flug suchen</a:t>
            </a:r>
          </a:p>
        </p:txBody>
      </p:sp>
      <p:cxnSp>
        <p:nvCxnSpPr>
          <p:cNvPr id="29" name="Verbinder: gewinkelt 28">
            <a:extLst>
              <a:ext uri="{FF2B5EF4-FFF2-40B4-BE49-F238E27FC236}">
                <a16:creationId xmlns:a16="http://schemas.microsoft.com/office/drawing/2014/main" id="{3761F6FB-F6A8-4691-AD26-6B3D015DA6C1}"/>
              </a:ext>
            </a:extLst>
          </p:cNvPr>
          <p:cNvCxnSpPr>
            <a:stCxn id="5" idx="0"/>
            <a:endCxn id="22" idx="0"/>
          </p:cNvCxnSpPr>
          <p:nvPr/>
        </p:nvCxnSpPr>
        <p:spPr>
          <a:xfrm rot="16200000" flipH="1">
            <a:off x="7409714" y="-421928"/>
            <a:ext cx="329624" cy="4937269"/>
          </a:xfrm>
          <a:prstGeom prst="bentConnector3">
            <a:avLst>
              <a:gd name="adj1" fmla="val -6935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E39ADD1A-DE2C-4C5F-B498-290E3CDB9D09}"/>
              </a:ext>
            </a:extLst>
          </p:cNvPr>
          <p:cNvSpPr/>
          <p:nvPr/>
        </p:nvSpPr>
        <p:spPr>
          <a:xfrm>
            <a:off x="0" y="6654056"/>
            <a:ext cx="1270000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1000">
                <a:solidFill>
                  <a:srgbClr val="000000"/>
                </a:solidFill>
              </a:rPr>
              <a:t>Frei verwendbar</a:t>
            </a:r>
          </a:p>
        </p:txBody>
      </p:sp>
    </p:spTree>
    <p:extLst>
      <p:ext uri="{BB962C8B-B14F-4D97-AF65-F5344CB8AC3E}">
        <p14:creationId xmlns:p14="http://schemas.microsoft.com/office/powerpoint/2010/main" val="39487103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ATnQLgSPRGRtD2TNmq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5</Words>
  <Application>Microsoft Office PowerPoint</Application>
  <PresentationFormat>Breitbild</PresentationFormat>
  <Paragraphs>1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ubert, Elias (SFS AC TP DA)</dc:creator>
  <cp:keywords>C_Unrestricted</cp:keywords>
  <cp:lastModifiedBy>Schubert, Elias (SFS AC TP DA)</cp:lastModifiedBy>
  <cp:revision>5</cp:revision>
  <dcterms:created xsi:type="dcterms:W3CDTF">2020-05-07T08:20:03Z</dcterms:created>
  <dcterms:modified xsi:type="dcterms:W3CDTF">2020-05-07T10:0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Unrestricted</vt:lpwstr>
  </property>
  <property fmtid="{D5CDD505-2E9C-101B-9397-08002B2CF9AE}" pid="3" name="sodocoClasLang">
    <vt:lpwstr>Frei verwendbar</vt:lpwstr>
  </property>
  <property fmtid="{D5CDD505-2E9C-101B-9397-08002B2CF9AE}" pid="4" name="sodocoClasLangId">
    <vt:i4>0</vt:i4>
  </property>
  <property fmtid="{D5CDD505-2E9C-101B-9397-08002B2CF9AE}" pid="5" name="sodocoClasId">
    <vt:i4>0</vt:i4>
  </property>
</Properties>
</file>